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99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EF224B"/>
    <a:srgbClr val="7E0080"/>
    <a:srgbClr val="DF6FA0"/>
    <a:srgbClr val="9B51B4"/>
    <a:srgbClr val="D7B9E1"/>
    <a:srgbClr val="F2F2F2"/>
    <a:srgbClr val="2B4871"/>
    <a:srgbClr val="05BADD"/>
    <a:srgbClr val="FFB4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69" autoAdjust="0"/>
    <p:restoredTop sz="94558"/>
  </p:normalViewPr>
  <p:slideViewPr>
    <p:cSldViewPr snapToGrid="0">
      <p:cViewPr varScale="1">
        <p:scale>
          <a:sx n="104" d="100"/>
          <a:sy n="104" d="100"/>
        </p:scale>
        <p:origin x="1158" y="11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-22368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5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57D2F44-BC3F-D8BD-359D-6F796B628E65}"/>
              </a:ext>
            </a:extLst>
          </p:cNvPr>
          <p:cNvSpPr/>
          <p:nvPr userDrawn="1"/>
        </p:nvSpPr>
        <p:spPr>
          <a:xfrm flipH="1">
            <a:off x="0" y="6757416"/>
            <a:ext cx="12161520" cy="10058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11325812" y="6505575"/>
            <a:ext cx="528138" cy="352425"/>
          </a:xfrm>
          <a:prstGeom prst="round2Same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F770768B-E889-E357-3F75-B2F864830D7E}"/>
              </a:ext>
            </a:extLst>
          </p:cNvPr>
          <p:cNvSpPr/>
          <p:nvPr userDrawn="1"/>
        </p:nvSpPr>
        <p:spPr>
          <a:xfrm rot="5400000">
            <a:off x="-252936" y="360262"/>
            <a:ext cx="734470" cy="228600"/>
          </a:xfrm>
          <a:prstGeom prst="round2SameRect">
            <a:avLst>
              <a:gd name="adj1" fmla="val 22222"/>
              <a:gd name="adj2" fmla="val 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oleObject" Target="../embeddings/oleObject3.bin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12" Type="http://schemas.openxmlformats.org/officeDocument/2006/relationships/slideLayout" Target="../slideLayouts/slideLayout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5" Type="http://schemas.openxmlformats.org/officeDocument/2006/relationships/tags" Target="../tags/tag8.xml"/><Relationship Id="rId10" Type="http://schemas.openxmlformats.org/officeDocument/2006/relationships/tags" Target="../tags/tag13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6AAEE8F2-ADEE-D1A9-7E28-CFF0CC14BA6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425" imgH="426" progId="TCLayout.ActiveDocument.1">
                  <p:embed/>
                </p:oleObj>
              </mc:Choice>
              <mc:Fallback>
                <p:oleObj name="think-cell Slide" r:id="rId1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AAEE8F2-ADEE-D1A9-7E28-CFF0CC14BA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A1B9BEC-09A6-7D4D-2E49-5B4BFC6C67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x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77B9F7F-266F-D6FD-A632-8689F497DB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5D326A26-8E56-119B-AD22-A74340591FA6}"/>
              </a:ext>
            </a:extLst>
          </p:cNvPr>
          <p:cNvCxnSpPr>
            <a:cxnSpLocks/>
          </p:cNvCxnSpPr>
          <p:nvPr/>
        </p:nvCxnSpPr>
        <p:spPr>
          <a:xfrm flipV="1">
            <a:off x="975879" y="2673069"/>
            <a:ext cx="10179517" cy="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B183BDD0-4460-D0A0-087A-2A879765E516}"/>
              </a:ext>
            </a:extLst>
          </p:cNvPr>
          <p:cNvCxnSpPr>
            <a:cxnSpLocks/>
          </p:cNvCxnSpPr>
          <p:nvPr/>
        </p:nvCxnSpPr>
        <p:spPr>
          <a:xfrm flipV="1">
            <a:off x="975879" y="3650171"/>
            <a:ext cx="10179517" cy="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9E296B42-9A7F-F97C-036B-7022CA11E6A2}"/>
              </a:ext>
            </a:extLst>
          </p:cNvPr>
          <p:cNvCxnSpPr>
            <a:cxnSpLocks/>
          </p:cNvCxnSpPr>
          <p:nvPr/>
        </p:nvCxnSpPr>
        <p:spPr>
          <a:xfrm flipV="1">
            <a:off x="975879" y="1693943"/>
            <a:ext cx="10179517" cy="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0D9F7FB0-E77A-CC4E-3287-6C42D71D2B1C}"/>
              </a:ext>
            </a:extLst>
          </p:cNvPr>
          <p:cNvCxnSpPr>
            <a:cxnSpLocks/>
          </p:cNvCxnSpPr>
          <p:nvPr/>
        </p:nvCxnSpPr>
        <p:spPr>
          <a:xfrm flipV="1">
            <a:off x="975879" y="4628357"/>
            <a:ext cx="10179517" cy="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4304EEC7-EC24-0538-628B-BB92D388A0C2}"/>
              </a:ext>
            </a:extLst>
          </p:cNvPr>
          <p:cNvCxnSpPr>
            <a:cxnSpLocks/>
          </p:cNvCxnSpPr>
          <p:nvPr/>
        </p:nvCxnSpPr>
        <p:spPr>
          <a:xfrm flipV="1">
            <a:off x="975879" y="5606002"/>
            <a:ext cx="10179517" cy="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Rectangle 3">
            <a:extLst>
              <a:ext uri="{FF2B5EF4-FFF2-40B4-BE49-F238E27FC236}">
                <a16:creationId xmlns:a16="http://schemas.microsoft.com/office/drawing/2014/main" id="{A8F74C0E-C9CD-84DF-F918-B1A3E6E08AD6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978822" y="2827251"/>
            <a:ext cx="6510276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>
            <a:spAutoFit/>
          </a:bodyPr>
          <a:lstStyle/>
          <a:p>
            <a:pPr marL="1589" marR="0" lvl="1" indent="0" algn="l" defTabSz="895255" rtl="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4546A"/>
              </a:buClr>
              <a:buSzPct val="12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36" name="Rectangle 3">
            <a:extLst>
              <a:ext uri="{FF2B5EF4-FFF2-40B4-BE49-F238E27FC236}">
                <a16:creationId xmlns:a16="http://schemas.microsoft.com/office/drawing/2014/main" id="{737C2C4C-AFDF-4DE4-C666-DAAB2D9CEFAB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978822" y="2339043"/>
            <a:ext cx="651027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/>
          <a:p>
            <a:pPr marL="1589" marR="0" lvl="1" indent="0" algn="l" defTabSz="895255" rtl="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4546A"/>
              </a:buClr>
              <a:buSzPct val="120000"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Title</a:t>
            </a:r>
          </a:p>
        </p:txBody>
      </p:sp>
      <p:sp>
        <p:nvSpPr>
          <p:cNvPr id="37" name="Rectangle 3">
            <a:extLst>
              <a:ext uri="{FF2B5EF4-FFF2-40B4-BE49-F238E27FC236}">
                <a16:creationId xmlns:a16="http://schemas.microsoft.com/office/drawing/2014/main" id="{075224C2-41EA-B41C-7A35-33B09C7C027A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975880" y="3807535"/>
            <a:ext cx="6510276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>
            <a:spAutoFit/>
          </a:bodyPr>
          <a:lstStyle/>
          <a:p>
            <a:pPr marL="1589" marR="0" lvl="1" indent="0" algn="l" defTabSz="895255" rtl="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4546A"/>
              </a:buClr>
              <a:buSzPct val="12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38" name="Rectangle 3">
            <a:extLst>
              <a:ext uri="{FF2B5EF4-FFF2-40B4-BE49-F238E27FC236}">
                <a16:creationId xmlns:a16="http://schemas.microsoft.com/office/drawing/2014/main" id="{D8DB2F3B-7987-1B2B-EF74-C5DF86E729EF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975880" y="3318664"/>
            <a:ext cx="651027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/>
          <a:p>
            <a:pPr marL="1589" marR="0" lvl="1" indent="0" algn="l" defTabSz="895255" rtl="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4546A"/>
              </a:buClr>
              <a:buSzPct val="120000"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Title</a:t>
            </a:r>
          </a:p>
        </p:txBody>
      </p:sp>
      <p:sp>
        <p:nvSpPr>
          <p:cNvPr id="39" name="Rectangle 3">
            <a:extLst>
              <a:ext uri="{FF2B5EF4-FFF2-40B4-BE49-F238E27FC236}">
                <a16:creationId xmlns:a16="http://schemas.microsoft.com/office/drawing/2014/main" id="{223C9A11-1402-F3AC-FF8F-FAECD2F764AA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975880" y="1844805"/>
            <a:ext cx="6510276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>
            <a:spAutoFit/>
          </a:bodyPr>
          <a:lstStyle/>
          <a:p>
            <a:pPr marL="1589" marR="0" lvl="1" indent="0" algn="l" defTabSz="895255" rtl="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4546A"/>
              </a:buClr>
              <a:buSzPct val="12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40" name="Rectangle 3">
            <a:extLst>
              <a:ext uri="{FF2B5EF4-FFF2-40B4-BE49-F238E27FC236}">
                <a16:creationId xmlns:a16="http://schemas.microsoft.com/office/drawing/2014/main" id="{52666A90-894A-B170-F2F3-6EF9B892A1FA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975880" y="1368665"/>
            <a:ext cx="651027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/>
          <a:p>
            <a:pPr marL="1589" marR="0" lvl="1" indent="0" algn="l" defTabSz="895255" rtl="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4546A"/>
              </a:buClr>
              <a:buSzPct val="120000"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Title</a:t>
            </a:r>
          </a:p>
        </p:txBody>
      </p:sp>
      <p:sp>
        <p:nvSpPr>
          <p:cNvPr id="41" name="Rectangle 3">
            <a:extLst>
              <a:ext uri="{FF2B5EF4-FFF2-40B4-BE49-F238E27FC236}">
                <a16:creationId xmlns:a16="http://schemas.microsoft.com/office/drawing/2014/main" id="{BDD8CF99-5285-75C5-8330-E6897833F6A1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978822" y="4773508"/>
            <a:ext cx="6510276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>
            <a:spAutoFit/>
          </a:bodyPr>
          <a:lstStyle/>
          <a:p>
            <a:pPr marL="1589" marR="0" lvl="1" indent="0" algn="l" defTabSz="895255" rtl="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4546A"/>
              </a:buClr>
              <a:buSzPct val="12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42" name="Rectangle 3">
            <a:extLst>
              <a:ext uri="{FF2B5EF4-FFF2-40B4-BE49-F238E27FC236}">
                <a16:creationId xmlns:a16="http://schemas.microsoft.com/office/drawing/2014/main" id="{398F4E29-1905-ABDA-64A7-1EE5C3F9D8FD}"/>
              </a:ext>
            </a:extLst>
          </p:cNvPr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978822" y="4299624"/>
            <a:ext cx="651027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/>
          <a:p>
            <a:pPr marL="1589" marR="0" lvl="1" indent="0" algn="l" defTabSz="895255" rtl="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4546A"/>
              </a:buClr>
              <a:buSzPct val="120000"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Title</a:t>
            </a:r>
          </a:p>
        </p:txBody>
      </p:sp>
      <p:sp>
        <p:nvSpPr>
          <p:cNvPr id="43" name="Rectangle 3">
            <a:extLst>
              <a:ext uri="{FF2B5EF4-FFF2-40B4-BE49-F238E27FC236}">
                <a16:creationId xmlns:a16="http://schemas.microsoft.com/office/drawing/2014/main" id="{98C337DF-E82C-D0C1-AA75-D0B4C82DF310}"/>
              </a:ext>
            </a:extLst>
          </p:cNvPr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978822" y="5745301"/>
            <a:ext cx="6510276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>
            <a:spAutoFit/>
          </a:bodyPr>
          <a:lstStyle/>
          <a:p>
            <a:pPr marL="1589" marR="0" lvl="1" indent="0" algn="l" defTabSz="895255" rtl="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4546A"/>
              </a:buClr>
              <a:buSzPct val="12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44" name="Rectangle 3">
            <a:extLst>
              <a:ext uri="{FF2B5EF4-FFF2-40B4-BE49-F238E27FC236}">
                <a16:creationId xmlns:a16="http://schemas.microsoft.com/office/drawing/2014/main" id="{8084B985-A21F-B5A9-62DE-D1AA1250A968}"/>
              </a:ext>
            </a:extLst>
          </p:cNvPr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978822" y="5273287"/>
            <a:ext cx="651027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/>
          <a:p>
            <a:pPr marL="1589" marR="0" lvl="1" indent="0" algn="l" defTabSz="895255" rtl="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4546A"/>
              </a:buClr>
              <a:buSzPct val="120000"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Title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16746F94-151A-4882-C0F1-BDE25295DC02}"/>
              </a:ext>
            </a:extLst>
          </p:cNvPr>
          <p:cNvSpPr/>
          <p:nvPr/>
        </p:nvSpPr>
        <p:spPr>
          <a:xfrm rot="16200000">
            <a:off x="217049" y="3660454"/>
            <a:ext cx="979992" cy="182646"/>
          </a:xfrm>
          <a:prstGeom prst="rect">
            <a:avLst/>
          </a:prstGeom>
          <a:solidFill>
            <a:schemeClr val="accent3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1" i="0" u="none" strike="noStrike" kern="1200" cap="none" spc="0" normalizeH="0" baseline="0" noProof="0" dirty="0" err="1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n-ea"/>
              <a:cs typeface="Arial" panose="020B0604020202020204" pitchFamily="34" charset="0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8F1176E4-5250-5DDE-656A-7144A50FBBE9}"/>
              </a:ext>
            </a:extLst>
          </p:cNvPr>
          <p:cNvSpPr/>
          <p:nvPr/>
        </p:nvSpPr>
        <p:spPr>
          <a:xfrm rot="16200000">
            <a:off x="217049" y="2678923"/>
            <a:ext cx="979992" cy="182646"/>
          </a:xfrm>
          <a:prstGeom prst="rect">
            <a:avLst/>
          </a:prstGeom>
          <a:solidFill>
            <a:schemeClr val="accent2"/>
          </a:solidFill>
          <a:ln cap="sq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 err="1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n-ea"/>
              <a:cs typeface="Arial" panose="020B0604020202020204" pitchFamily="34" charset="0"/>
            </a:endParaRPr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id="{7C653A6F-AFE8-93C0-0B4E-989830E8EA1F}"/>
              </a:ext>
            </a:extLst>
          </p:cNvPr>
          <p:cNvSpPr/>
          <p:nvPr/>
        </p:nvSpPr>
        <p:spPr>
          <a:xfrm>
            <a:off x="550862" y="2614061"/>
            <a:ext cx="312370" cy="312370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2</a:t>
            </a:r>
          </a:p>
        </p:txBody>
      </p:sp>
      <p:sp>
        <p:nvSpPr>
          <p:cNvPr id="48" name="Freeform: Shape 47">
            <a:extLst>
              <a:ext uri="{FF2B5EF4-FFF2-40B4-BE49-F238E27FC236}">
                <a16:creationId xmlns:a16="http://schemas.microsoft.com/office/drawing/2014/main" id="{4EABBEBC-C952-1A8E-0F45-34D4503229E6}"/>
              </a:ext>
            </a:extLst>
          </p:cNvPr>
          <p:cNvSpPr/>
          <p:nvPr/>
        </p:nvSpPr>
        <p:spPr>
          <a:xfrm rot="16200000">
            <a:off x="217049" y="1704226"/>
            <a:ext cx="979992" cy="182646"/>
          </a:xfrm>
          <a:custGeom>
            <a:avLst/>
            <a:gdLst>
              <a:gd name="connsiteX0" fmla="*/ 0 w 5969418"/>
              <a:gd name="connsiteY0" fmla="*/ 0 h 852940"/>
              <a:gd name="connsiteX1" fmla="*/ 5542948 w 5969418"/>
              <a:gd name="connsiteY1" fmla="*/ 0 h 852940"/>
              <a:gd name="connsiteX2" fmla="*/ 5969418 w 5969418"/>
              <a:gd name="connsiteY2" fmla="*/ 426470 h 852940"/>
              <a:gd name="connsiteX3" fmla="*/ 5969417 w 5969418"/>
              <a:gd name="connsiteY3" fmla="*/ 426470 h 852940"/>
              <a:gd name="connsiteX4" fmla="*/ 5542947 w 5969418"/>
              <a:gd name="connsiteY4" fmla="*/ 852940 h 852940"/>
              <a:gd name="connsiteX5" fmla="*/ 0 w 5969418"/>
              <a:gd name="connsiteY5" fmla="*/ 852939 h 852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969418" h="852940">
                <a:moveTo>
                  <a:pt x="0" y="0"/>
                </a:moveTo>
                <a:lnTo>
                  <a:pt x="5542948" y="0"/>
                </a:lnTo>
                <a:cubicBezTo>
                  <a:pt x="5778481" y="0"/>
                  <a:pt x="5969418" y="190937"/>
                  <a:pt x="5969418" y="426470"/>
                </a:cubicBezTo>
                <a:lnTo>
                  <a:pt x="5969417" y="426470"/>
                </a:lnTo>
                <a:cubicBezTo>
                  <a:pt x="5969417" y="662003"/>
                  <a:pt x="5778480" y="852940"/>
                  <a:pt x="5542947" y="852940"/>
                </a:cubicBezTo>
                <a:lnTo>
                  <a:pt x="0" y="852939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Arial" panose="020B0604020202020204" pitchFamily="34" charset="0"/>
            </a:endParaRPr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7E856D89-C48B-D2CA-2B5D-878DB381D181}"/>
              </a:ext>
            </a:extLst>
          </p:cNvPr>
          <p:cNvSpPr/>
          <p:nvPr/>
        </p:nvSpPr>
        <p:spPr>
          <a:xfrm>
            <a:off x="550862" y="3591163"/>
            <a:ext cx="312370" cy="312370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3</a:t>
            </a: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EA96D840-3777-B2FA-48F2-7F3D8DE28C63}"/>
              </a:ext>
            </a:extLst>
          </p:cNvPr>
          <p:cNvSpPr/>
          <p:nvPr/>
        </p:nvSpPr>
        <p:spPr>
          <a:xfrm>
            <a:off x="550862" y="1634935"/>
            <a:ext cx="312370" cy="312370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1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497ABE15-8405-525C-F0AF-D7F2CE8F94B5}"/>
              </a:ext>
            </a:extLst>
          </p:cNvPr>
          <p:cNvSpPr/>
          <p:nvPr/>
        </p:nvSpPr>
        <p:spPr>
          <a:xfrm rot="16200000">
            <a:off x="217049" y="4634211"/>
            <a:ext cx="979992" cy="182646"/>
          </a:xfrm>
          <a:prstGeom prst="rect">
            <a:avLst/>
          </a:prstGeom>
          <a:solidFill>
            <a:schemeClr val="accent4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1" i="0" u="none" strike="noStrike" kern="1200" cap="none" spc="0" normalizeH="0" baseline="0" noProof="0" dirty="0" err="1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n-ea"/>
              <a:cs typeface="Arial" panose="020B0604020202020204" pitchFamily="34" charset="0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ADD778D6-D641-1FA6-4D54-266BAD8131EE}"/>
              </a:ext>
            </a:extLst>
          </p:cNvPr>
          <p:cNvSpPr/>
          <p:nvPr/>
        </p:nvSpPr>
        <p:spPr>
          <a:xfrm>
            <a:off x="550862" y="4569349"/>
            <a:ext cx="312370" cy="312370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4</a:t>
            </a:r>
          </a:p>
        </p:txBody>
      </p:sp>
      <p:sp>
        <p:nvSpPr>
          <p:cNvPr id="53" name="Freeform: Shape 52">
            <a:extLst>
              <a:ext uri="{FF2B5EF4-FFF2-40B4-BE49-F238E27FC236}">
                <a16:creationId xmlns:a16="http://schemas.microsoft.com/office/drawing/2014/main" id="{C9CE3C73-D13E-6057-9BED-67A88363541E}"/>
              </a:ext>
            </a:extLst>
          </p:cNvPr>
          <p:cNvSpPr/>
          <p:nvPr/>
        </p:nvSpPr>
        <p:spPr>
          <a:xfrm rot="5400000" flipV="1">
            <a:off x="217049" y="5611857"/>
            <a:ext cx="979992" cy="182646"/>
          </a:xfrm>
          <a:custGeom>
            <a:avLst/>
            <a:gdLst>
              <a:gd name="connsiteX0" fmla="*/ 0 w 5969418"/>
              <a:gd name="connsiteY0" fmla="*/ 0 h 852940"/>
              <a:gd name="connsiteX1" fmla="*/ 5542948 w 5969418"/>
              <a:gd name="connsiteY1" fmla="*/ 0 h 852940"/>
              <a:gd name="connsiteX2" fmla="*/ 5969418 w 5969418"/>
              <a:gd name="connsiteY2" fmla="*/ 426470 h 852940"/>
              <a:gd name="connsiteX3" fmla="*/ 5969417 w 5969418"/>
              <a:gd name="connsiteY3" fmla="*/ 426470 h 852940"/>
              <a:gd name="connsiteX4" fmla="*/ 5542947 w 5969418"/>
              <a:gd name="connsiteY4" fmla="*/ 852940 h 852940"/>
              <a:gd name="connsiteX5" fmla="*/ 0 w 5969418"/>
              <a:gd name="connsiteY5" fmla="*/ 852939 h 852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969418" h="852940">
                <a:moveTo>
                  <a:pt x="0" y="0"/>
                </a:moveTo>
                <a:lnTo>
                  <a:pt x="5542948" y="0"/>
                </a:lnTo>
                <a:cubicBezTo>
                  <a:pt x="5778481" y="0"/>
                  <a:pt x="5969418" y="190937"/>
                  <a:pt x="5969418" y="426470"/>
                </a:cubicBezTo>
                <a:lnTo>
                  <a:pt x="5969417" y="426470"/>
                </a:lnTo>
                <a:cubicBezTo>
                  <a:pt x="5969417" y="662003"/>
                  <a:pt x="5778480" y="852940"/>
                  <a:pt x="5542947" y="852940"/>
                </a:cubicBezTo>
                <a:lnTo>
                  <a:pt x="0" y="852939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568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Arial" panose="020B0604020202020204" pitchFamily="34" charset="0"/>
            </a:endParaRP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79E4FD73-E35C-2771-4B39-A6343CEF5300}"/>
              </a:ext>
            </a:extLst>
          </p:cNvPr>
          <p:cNvSpPr/>
          <p:nvPr/>
        </p:nvSpPr>
        <p:spPr>
          <a:xfrm>
            <a:off x="550862" y="5546994"/>
            <a:ext cx="312370" cy="312370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5494641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V9uP48jtkO6P.TOX0SLe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V9uP48jtkO6P.TOX0SLe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V9uP48jtkO6P.TOX0SLe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V9uP48jtkO6P.TOX0SLe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V9uP48jtkO6P.TOX0SLe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V9uP48jtkO6P.TOX0SLe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V9uP48jtkO6P.TOX0SLe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V9uP48jtkO6P.TOX0SLe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V9uP48jtkO6P.TOX0SLe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V9uP48jtkO6P.TOX0SLeQ"/>
</p:tagLst>
</file>

<file path=ppt/theme/theme1.xml><?xml version="1.0" encoding="utf-8"?>
<a:theme xmlns:a="http://schemas.openxmlformats.org/drawingml/2006/main" name="Office Theme">
  <a:themeElements>
    <a:clrScheme name="Custom 1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7E0080"/>
      </a:accent1>
      <a:accent2>
        <a:srgbClr val="9B51B4"/>
      </a:accent2>
      <a:accent3>
        <a:srgbClr val="DF6FA0"/>
      </a:accent3>
      <a:accent4>
        <a:srgbClr val="EF224B"/>
      </a:accent4>
      <a:accent5>
        <a:srgbClr val="C20232"/>
      </a:accent5>
      <a:accent6>
        <a:srgbClr val="7F7F7F"/>
      </a:accent6>
      <a:hlink>
        <a:srgbClr val="0563C1"/>
      </a:hlink>
      <a:folHlink>
        <a:srgbClr val="954F72"/>
      </a:folHlink>
    </a:clrScheme>
    <a:fontScheme name="Custom 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590</TotalTime>
  <Words>27</Words>
  <Application>Microsoft Office PowerPoint</Application>
  <PresentationFormat>Widescreen</PresentationFormat>
  <Paragraphs>17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Tex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498</cp:revision>
  <dcterms:created xsi:type="dcterms:W3CDTF">2021-03-31T02:49:57Z</dcterms:created>
  <dcterms:modified xsi:type="dcterms:W3CDTF">2025-10-15T08:34:08Z</dcterms:modified>
  <cp:category/>
</cp:coreProperties>
</file>